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8/05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8/05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8 May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es-ES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es-ES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  <a:r>
                <a:rPr lang="es-ES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23076" cy="923330"/>
          </a:xfrm>
        </p:spPr>
        <p:txBody>
          <a:bodyPr/>
          <a:lstStyle/>
          <a:p>
            <a:r>
              <a:rPr lang="es-ES" dirty="1"/>
              <a:t>Incremente la seguridad del operador y asegure la calidad del product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pPr eaLnBrk="1" hangingPunct="1"/>
            <a:r>
              <a:rPr lang="es-ES" dirty="1"/>
              <a:t>Iluminación led para SBO Series 2, Universal y Matrix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s-ES" dirty="1" sz="800">
                <a:solidFill>
                  <a:srgbClr val="000000"/>
                </a:solidFill>
              </a:rPr>
              <a:t>Valor:</a:t>
            </a:r>
            <a:r>
              <a:rPr lang="es-ES" dirty="1" sz="800">
                <a:solidFill>
                  <a:srgbClr val="000000"/>
                </a:solidFill>
              </a:rPr>
              <a:t> </a:t>
            </a:r>
            <a:r>
              <a:rPr lang="es-ES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s-ES" dirty="1" sz="800">
                <a:solidFill>
                  <a:srgbClr val="000000"/>
                </a:solidFill>
              </a:rPr>
              <a:t>Seguridad y ergonomía, calidad del produc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</a:t>
            </a:r>
            <a:r>
              <a:rPr lang="es-ES" dirty="1" sz="800">
                <a:solidFill>
                  <a:srgbClr val="000000"/>
                </a:solidFill>
              </a:rPr>
              <a:t> </a:t>
            </a:r>
            <a:r>
              <a:rPr lang="es-ES" dirty="1" sz="800">
                <a:solidFill>
                  <a:srgbClr val="000000"/>
                </a:solidFill>
              </a:rPr>
              <a:t>Sopladora S2, Universal, Matrix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</a:t>
            </a:r>
            <a:r>
              <a:rPr lang="es-ES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s-ES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4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674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Una iluminación que sigue funcionando incluso cuando se desconecta la máquina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Eliminación de las bombillas de crista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Rentabilidad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Iluminación superior: 1200 lúmenes/barra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Flujo luminoso homogéneo que no deslumbra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baseline="0" sz="1200">
                <a:solidFill>
                  <a:srgbClr val="000000"/>
                </a:solidFill>
                <a:latin typeface="Arial"/>
              </a:rPr>
              <a:t>Suministro de bajo</a:t>
            </a:r>
            <a:r>
              <a:rPr lang="es-ES" dirty="1" sz="1200">
                <a:solidFill>
                  <a:srgbClr val="000000"/>
                </a:solidFill>
                <a:latin typeface="Arial"/>
              </a:rPr>
              <a:t> voltaje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Interruptor individual para alta/baja luminosidad y desconexión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Sujeción magnética o por tornillo.</a:t>
            </a:r>
            <a:r>
              <a:rPr lang="es-ES" dirty="1" sz="120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Sin costos ni tiempo de mantenimiento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s-ES" dirty="1" sz="1200">
                <a:solidFill>
                  <a:srgbClr val="000000"/>
                </a:solidFill>
                <a:latin typeface="Arial"/>
              </a:rPr>
              <a:t>Larga vida útil.</a:t>
            </a:r>
          </a:p>
          <a:p>
            <a:pPr marR="0" lvl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Juego de barras de luz led (de 6 a 11 unidades, según el tamaño de la máquina)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Soportes de sujeción incluido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Nuevo suministro de 24 V con juego de cable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dirty="1" sz="1200">
                <a:solidFill>
                  <a:srgbClr val="000000"/>
                </a:solidFill>
              </a:rPr>
              <a:t>Opcional: luces para celdas de armario eléctric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16" descr="https://www.lcautomation.com/Images/ocw/5255_1200_63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66" t="4628" r="39430" b="3946"/>
          <a:stretch/>
        </p:blipFill>
        <p:spPr bwMode="auto">
          <a:xfrm rot="7366588">
            <a:off x="6474812" y="3664760"/>
            <a:ext cx="442525" cy="220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125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Increase operator safet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4</cp:revision>
  <dcterms:created xsi:type="dcterms:W3CDTF">2018-02-10T17:04:39Z</dcterms:created>
  <dcterms:modified xsi:type="dcterms:W3CDTF">2018-05-28T12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